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71" r:id="rId5"/>
    <p:sldId id="272" r:id="rId6"/>
    <p:sldId id="273" r:id="rId7"/>
    <p:sldId id="274" r:id="rId8"/>
    <p:sldId id="275" r:id="rId9"/>
    <p:sldId id="276" r:id="rId10"/>
    <p:sldId id="266" r:id="rId11"/>
    <p:sldId id="264" r:id="rId12"/>
    <p:sldId id="277" r:id="rId13"/>
    <p:sldId id="278" r:id="rId14"/>
    <p:sldId id="279" r:id="rId15"/>
    <p:sldId id="280" r:id="rId16"/>
    <p:sldId id="281" r:id="rId17"/>
    <p:sldId id="269" r:id="rId18"/>
    <p:sldId id="257" r:id="rId19"/>
  </p:sldIdLst>
  <p:sldSz cx="12192000" cy="6858000"/>
  <p:notesSz cx="6858000" cy="9144000"/>
  <p:custDataLst>
    <p:tags r:id="rId22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7AA6"/>
    <a:srgbClr val="F532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9AB0D81-0124-4DCF-9A4C-DDAE3A9C31E6}" v="2" dt="2024-03-15T09:23:27.35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60" d="100"/>
          <a:sy n="60" d="100"/>
        </p:scale>
        <p:origin x="1446" y="5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4" d="100"/>
          <a:sy n="94" d="100"/>
        </p:scale>
        <p:origin x="406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onkanen Nina" userId="0e60591b-a1d4-46d2-8afe-38d5c603077f" providerId="ADAL" clId="{C9AB0D81-0124-4DCF-9A4C-DDAE3A9C31E6}"/>
    <pc:docChg chg="undo custSel modSld">
      <pc:chgData name="Honkanen Nina" userId="0e60591b-a1d4-46d2-8afe-38d5c603077f" providerId="ADAL" clId="{C9AB0D81-0124-4DCF-9A4C-DDAE3A9C31E6}" dt="2024-03-15T09:23:40.649" v="191" actId="1076"/>
      <pc:docMkLst>
        <pc:docMk/>
      </pc:docMkLst>
      <pc:sldChg chg="modSp mod">
        <pc:chgData name="Honkanen Nina" userId="0e60591b-a1d4-46d2-8afe-38d5c603077f" providerId="ADAL" clId="{C9AB0D81-0124-4DCF-9A4C-DDAE3A9C31E6}" dt="2024-03-15T07:38:43.288" v="121" actId="114"/>
        <pc:sldMkLst>
          <pc:docMk/>
          <pc:sldMk cId="1967443211" sldId="257"/>
        </pc:sldMkLst>
        <pc:spChg chg="mod">
          <ac:chgData name="Honkanen Nina" userId="0e60591b-a1d4-46d2-8afe-38d5c603077f" providerId="ADAL" clId="{C9AB0D81-0124-4DCF-9A4C-DDAE3A9C31E6}" dt="2024-03-15T07:38:43.288" v="121" actId="114"/>
          <ac:spMkLst>
            <pc:docMk/>
            <pc:sldMk cId="1967443211" sldId="257"/>
            <ac:spMk id="5" creationId="{6C66CB21-53C0-D442-CD72-200E1F609901}"/>
          </ac:spMkLst>
        </pc:spChg>
      </pc:sldChg>
      <pc:sldChg chg="modSp mod">
        <pc:chgData name="Honkanen Nina" userId="0e60591b-a1d4-46d2-8afe-38d5c603077f" providerId="ADAL" clId="{C9AB0D81-0124-4DCF-9A4C-DDAE3A9C31E6}" dt="2024-03-15T07:45:42.747" v="181" actId="1076"/>
        <pc:sldMkLst>
          <pc:docMk/>
          <pc:sldMk cId="1006855238" sldId="264"/>
        </pc:sldMkLst>
        <pc:spChg chg="mod">
          <ac:chgData name="Honkanen Nina" userId="0e60591b-a1d4-46d2-8afe-38d5c603077f" providerId="ADAL" clId="{C9AB0D81-0124-4DCF-9A4C-DDAE3A9C31E6}" dt="2024-03-15T07:45:42.747" v="181" actId="1076"/>
          <ac:spMkLst>
            <pc:docMk/>
            <pc:sldMk cId="1006855238" sldId="264"/>
            <ac:spMk id="2" creationId="{C2D1A1B9-54F9-AEB7-A30A-25ACA24170F1}"/>
          </ac:spMkLst>
        </pc:spChg>
        <pc:spChg chg="mod">
          <ac:chgData name="Honkanen Nina" userId="0e60591b-a1d4-46d2-8afe-38d5c603077f" providerId="ADAL" clId="{C9AB0D81-0124-4DCF-9A4C-DDAE3A9C31E6}" dt="2024-03-15T07:45:37.063" v="180" actId="1076"/>
          <ac:spMkLst>
            <pc:docMk/>
            <pc:sldMk cId="1006855238" sldId="264"/>
            <ac:spMk id="3" creationId="{A121DF19-0DBF-4553-FFA4-41C7D222FF89}"/>
          </ac:spMkLst>
        </pc:spChg>
      </pc:sldChg>
      <pc:sldChg chg="addSp delSp modSp mod">
        <pc:chgData name="Honkanen Nina" userId="0e60591b-a1d4-46d2-8afe-38d5c603077f" providerId="ADAL" clId="{C9AB0D81-0124-4DCF-9A4C-DDAE3A9C31E6}" dt="2024-03-15T07:33:06.947" v="48" actId="1035"/>
        <pc:sldMkLst>
          <pc:docMk/>
          <pc:sldMk cId="3135352650" sldId="271"/>
        </pc:sldMkLst>
        <pc:picChg chg="del">
          <ac:chgData name="Honkanen Nina" userId="0e60591b-a1d4-46d2-8afe-38d5c603077f" providerId="ADAL" clId="{C9AB0D81-0124-4DCF-9A4C-DDAE3A9C31E6}" dt="2024-03-15T07:31:51.907" v="0" actId="478"/>
          <ac:picMkLst>
            <pc:docMk/>
            <pc:sldMk cId="3135352650" sldId="271"/>
            <ac:picMk id="3" creationId="{9D809F84-F244-A373-B66B-92CFD3F17C0C}"/>
          </ac:picMkLst>
        </pc:picChg>
        <pc:picChg chg="add mod ord modCrop">
          <ac:chgData name="Honkanen Nina" userId="0e60591b-a1d4-46d2-8afe-38d5c603077f" providerId="ADAL" clId="{C9AB0D81-0124-4DCF-9A4C-DDAE3A9C31E6}" dt="2024-03-15T07:32:58.575" v="30" actId="167"/>
          <ac:picMkLst>
            <pc:docMk/>
            <pc:sldMk cId="3135352650" sldId="271"/>
            <ac:picMk id="5" creationId="{11A963C1-B426-3B21-E759-42C85A9E84EC}"/>
          </ac:picMkLst>
        </pc:picChg>
        <pc:picChg chg="mod">
          <ac:chgData name="Honkanen Nina" userId="0e60591b-a1d4-46d2-8afe-38d5c603077f" providerId="ADAL" clId="{C9AB0D81-0124-4DCF-9A4C-DDAE3A9C31E6}" dt="2024-03-15T07:33:06.947" v="48" actId="1035"/>
          <ac:picMkLst>
            <pc:docMk/>
            <pc:sldMk cId="3135352650" sldId="271"/>
            <ac:picMk id="11" creationId="{5084B628-7295-E9C8-D408-50EC84A6AE92}"/>
          </ac:picMkLst>
        </pc:picChg>
      </pc:sldChg>
      <pc:sldChg chg="addSp modSp mod">
        <pc:chgData name="Honkanen Nina" userId="0e60591b-a1d4-46d2-8afe-38d5c603077f" providerId="ADAL" clId="{C9AB0D81-0124-4DCF-9A4C-DDAE3A9C31E6}" dt="2024-03-15T09:23:40.649" v="191" actId="1076"/>
        <pc:sldMkLst>
          <pc:docMk/>
          <pc:sldMk cId="4260200088" sldId="272"/>
        </pc:sldMkLst>
        <pc:spChg chg="add mod">
          <ac:chgData name="Honkanen Nina" userId="0e60591b-a1d4-46d2-8afe-38d5c603077f" providerId="ADAL" clId="{C9AB0D81-0124-4DCF-9A4C-DDAE3A9C31E6}" dt="2024-03-15T09:23:38.356" v="190" actId="1076"/>
          <ac:spMkLst>
            <pc:docMk/>
            <pc:sldMk cId="4260200088" sldId="272"/>
            <ac:spMk id="2" creationId="{440D0F30-A748-C9EE-C2AF-FD799A6EFC1A}"/>
          </ac:spMkLst>
        </pc:spChg>
        <pc:spChg chg="mod">
          <ac:chgData name="Honkanen Nina" userId="0e60591b-a1d4-46d2-8afe-38d5c603077f" providerId="ADAL" clId="{C9AB0D81-0124-4DCF-9A4C-DDAE3A9C31E6}" dt="2024-03-15T09:23:40.649" v="191" actId="1076"/>
          <ac:spMkLst>
            <pc:docMk/>
            <pc:sldMk cId="4260200088" sldId="272"/>
            <ac:spMk id="3" creationId="{A121DF19-0DBF-4553-FFA4-41C7D222FF89}"/>
          </ac:spMkLst>
        </pc:spChg>
      </pc:sldChg>
      <pc:sldChg chg="modSp mod">
        <pc:chgData name="Honkanen Nina" userId="0e60591b-a1d4-46d2-8afe-38d5c603077f" providerId="ADAL" clId="{C9AB0D81-0124-4DCF-9A4C-DDAE3A9C31E6}" dt="2024-03-15T07:33:35.092" v="51" actId="1076"/>
        <pc:sldMkLst>
          <pc:docMk/>
          <pc:sldMk cId="1403590609" sldId="273"/>
        </pc:sldMkLst>
        <pc:spChg chg="mod">
          <ac:chgData name="Honkanen Nina" userId="0e60591b-a1d4-46d2-8afe-38d5c603077f" providerId="ADAL" clId="{C9AB0D81-0124-4DCF-9A4C-DDAE3A9C31E6}" dt="2024-03-15T07:33:29.603" v="49" actId="1076"/>
          <ac:spMkLst>
            <pc:docMk/>
            <pc:sldMk cId="1403590609" sldId="273"/>
            <ac:spMk id="2" creationId="{C2D1A1B9-54F9-AEB7-A30A-25ACA24170F1}"/>
          </ac:spMkLst>
        </pc:spChg>
        <pc:spChg chg="mod">
          <ac:chgData name="Honkanen Nina" userId="0e60591b-a1d4-46d2-8afe-38d5c603077f" providerId="ADAL" clId="{C9AB0D81-0124-4DCF-9A4C-DDAE3A9C31E6}" dt="2024-03-15T07:33:35.092" v="51" actId="1076"/>
          <ac:spMkLst>
            <pc:docMk/>
            <pc:sldMk cId="1403590609" sldId="273"/>
            <ac:spMk id="3" creationId="{A121DF19-0DBF-4553-FFA4-41C7D222FF89}"/>
          </ac:spMkLst>
        </pc:spChg>
      </pc:sldChg>
      <pc:sldChg chg="modSp mod">
        <pc:chgData name="Honkanen Nina" userId="0e60591b-a1d4-46d2-8afe-38d5c603077f" providerId="ADAL" clId="{C9AB0D81-0124-4DCF-9A4C-DDAE3A9C31E6}" dt="2024-03-15T07:33:54.422" v="54" actId="1076"/>
        <pc:sldMkLst>
          <pc:docMk/>
          <pc:sldMk cId="3983932773" sldId="274"/>
        </pc:sldMkLst>
        <pc:spChg chg="mod">
          <ac:chgData name="Honkanen Nina" userId="0e60591b-a1d4-46d2-8afe-38d5c603077f" providerId="ADAL" clId="{C9AB0D81-0124-4DCF-9A4C-DDAE3A9C31E6}" dt="2024-03-15T07:33:50.462" v="53" actId="1076"/>
          <ac:spMkLst>
            <pc:docMk/>
            <pc:sldMk cId="3983932773" sldId="274"/>
            <ac:spMk id="2" creationId="{C2D1A1B9-54F9-AEB7-A30A-25ACA24170F1}"/>
          </ac:spMkLst>
        </pc:spChg>
        <pc:spChg chg="mod">
          <ac:chgData name="Honkanen Nina" userId="0e60591b-a1d4-46d2-8afe-38d5c603077f" providerId="ADAL" clId="{C9AB0D81-0124-4DCF-9A4C-DDAE3A9C31E6}" dt="2024-03-15T07:33:54.422" v="54" actId="1076"/>
          <ac:spMkLst>
            <pc:docMk/>
            <pc:sldMk cId="3983932773" sldId="274"/>
            <ac:spMk id="3" creationId="{A121DF19-0DBF-4553-FFA4-41C7D222FF89}"/>
          </ac:spMkLst>
        </pc:spChg>
      </pc:sldChg>
      <pc:sldChg chg="modSp mod">
        <pc:chgData name="Honkanen Nina" userId="0e60591b-a1d4-46d2-8afe-38d5c603077f" providerId="ADAL" clId="{C9AB0D81-0124-4DCF-9A4C-DDAE3A9C31E6}" dt="2024-03-15T07:34:31.510" v="64" actId="1076"/>
        <pc:sldMkLst>
          <pc:docMk/>
          <pc:sldMk cId="305218964" sldId="275"/>
        </pc:sldMkLst>
        <pc:spChg chg="mod">
          <ac:chgData name="Honkanen Nina" userId="0e60591b-a1d4-46d2-8afe-38d5c603077f" providerId="ADAL" clId="{C9AB0D81-0124-4DCF-9A4C-DDAE3A9C31E6}" dt="2024-03-15T07:34:31.510" v="64" actId="1076"/>
          <ac:spMkLst>
            <pc:docMk/>
            <pc:sldMk cId="305218964" sldId="275"/>
            <ac:spMk id="2" creationId="{C2D1A1B9-54F9-AEB7-A30A-25ACA24170F1}"/>
          </ac:spMkLst>
        </pc:spChg>
        <pc:spChg chg="mod">
          <ac:chgData name="Honkanen Nina" userId="0e60591b-a1d4-46d2-8afe-38d5c603077f" providerId="ADAL" clId="{C9AB0D81-0124-4DCF-9A4C-DDAE3A9C31E6}" dt="2024-03-15T07:34:27.070" v="63" actId="14100"/>
          <ac:spMkLst>
            <pc:docMk/>
            <pc:sldMk cId="305218964" sldId="275"/>
            <ac:spMk id="3" creationId="{A121DF19-0DBF-4553-FFA4-41C7D222FF89}"/>
          </ac:spMkLst>
        </pc:spChg>
      </pc:sldChg>
      <pc:sldChg chg="addSp delSp modSp mod modClrScheme chgLayout">
        <pc:chgData name="Honkanen Nina" userId="0e60591b-a1d4-46d2-8afe-38d5c603077f" providerId="ADAL" clId="{C9AB0D81-0124-4DCF-9A4C-DDAE3A9C31E6}" dt="2024-03-15T07:41:30.426" v="168" actId="1035"/>
        <pc:sldMkLst>
          <pc:docMk/>
          <pc:sldMk cId="2982774036" sldId="276"/>
        </pc:sldMkLst>
        <pc:spChg chg="add del mod ord">
          <ac:chgData name="Honkanen Nina" userId="0e60591b-a1d4-46d2-8afe-38d5c603077f" providerId="ADAL" clId="{C9AB0D81-0124-4DCF-9A4C-DDAE3A9C31E6}" dt="2024-03-15T07:41:06.803" v="143" actId="478"/>
          <ac:spMkLst>
            <pc:docMk/>
            <pc:sldMk cId="2982774036" sldId="276"/>
            <ac:spMk id="2" creationId="{C2D1A1B9-54F9-AEB7-A30A-25ACA24170F1}"/>
          </ac:spMkLst>
        </pc:spChg>
        <pc:spChg chg="add del mod ord">
          <ac:chgData name="Honkanen Nina" userId="0e60591b-a1d4-46d2-8afe-38d5c603077f" providerId="ADAL" clId="{C9AB0D81-0124-4DCF-9A4C-DDAE3A9C31E6}" dt="2024-03-15T07:40:52.910" v="139" actId="478"/>
          <ac:spMkLst>
            <pc:docMk/>
            <pc:sldMk cId="2982774036" sldId="276"/>
            <ac:spMk id="3" creationId="{6949ABEA-3135-50D3-652B-EA0829C390D7}"/>
          </ac:spMkLst>
        </pc:spChg>
        <pc:spChg chg="add del mod">
          <ac:chgData name="Honkanen Nina" userId="0e60591b-a1d4-46d2-8afe-38d5c603077f" providerId="ADAL" clId="{C9AB0D81-0124-4DCF-9A4C-DDAE3A9C31E6}" dt="2024-03-15T07:41:01.122" v="142" actId="478"/>
          <ac:spMkLst>
            <pc:docMk/>
            <pc:sldMk cId="2982774036" sldId="276"/>
            <ac:spMk id="5" creationId="{CF653621-7168-3875-13BB-98D5E4BB88AC}"/>
          </ac:spMkLst>
        </pc:spChg>
        <pc:spChg chg="add mod">
          <ac:chgData name="Honkanen Nina" userId="0e60591b-a1d4-46d2-8afe-38d5c603077f" providerId="ADAL" clId="{C9AB0D81-0124-4DCF-9A4C-DDAE3A9C31E6}" dt="2024-03-15T07:41:30.426" v="168" actId="1035"/>
          <ac:spMkLst>
            <pc:docMk/>
            <pc:sldMk cId="2982774036" sldId="276"/>
            <ac:spMk id="7" creationId="{BC3D11AA-32A2-4043-350A-7F06D3B81C01}"/>
          </ac:spMkLst>
        </pc:spChg>
        <pc:spChg chg="del">
          <ac:chgData name="Honkanen Nina" userId="0e60591b-a1d4-46d2-8afe-38d5c603077f" providerId="ADAL" clId="{C9AB0D81-0124-4DCF-9A4C-DDAE3A9C31E6}" dt="2024-03-15T07:34:46.095" v="65" actId="478"/>
          <ac:spMkLst>
            <pc:docMk/>
            <pc:sldMk cId="2982774036" sldId="276"/>
            <ac:spMk id="8" creationId="{C218DB2D-CA7B-7658-49E8-33295447EB78}"/>
          </ac:spMkLst>
        </pc:spChg>
        <pc:picChg chg="mod">
          <ac:chgData name="Honkanen Nina" userId="0e60591b-a1d4-46d2-8afe-38d5c603077f" providerId="ADAL" clId="{C9AB0D81-0124-4DCF-9A4C-DDAE3A9C31E6}" dt="2024-03-15T07:40:29.125" v="136" actId="1076"/>
          <ac:picMkLst>
            <pc:docMk/>
            <pc:sldMk cId="2982774036" sldId="276"/>
            <ac:picMk id="9" creationId="{D6DA3BBD-3C2A-6BB6-0E7F-C27E5E598D16}"/>
          </ac:picMkLst>
        </pc:picChg>
      </pc:sldChg>
      <pc:sldChg chg="modSp mod">
        <pc:chgData name="Honkanen Nina" userId="0e60591b-a1d4-46d2-8afe-38d5c603077f" providerId="ADAL" clId="{C9AB0D81-0124-4DCF-9A4C-DDAE3A9C31E6}" dt="2024-03-15T07:36:30.729" v="82" actId="1076"/>
        <pc:sldMkLst>
          <pc:docMk/>
          <pc:sldMk cId="1684523110" sldId="277"/>
        </pc:sldMkLst>
        <pc:spChg chg="mod">
          <ac:chgData name="Honkanen Nina" userId="0e60591b-a1d4-46d2-8afe-38d5c603077f" providerId="ADAL" clId="{C9AB0D81-0124-4DCF-9A4C-DDAE3A9C31E6}" dt="2024-03-15T07:36:14.222" v="77" actId="1076"/>
          <ac:spMkLst>
            <pc:docMk/>
            <pc:sldMk cId="1684523110" sldId="277"/>
            <ac:spMk id="2" creationId="{C2D1A1B9-54F9-AEB7-A30A-25ACA24170F1}"/>
          </ac:spMkLst>
        </pc:spChg>
        <pc:spChg chg="mod">
          <ac:chgData name="Honkanen Nina" userId="0e60591b-a1d4-46d2-8afe-38d5c603077f" providerId="ADAL" clId="{C9AB0D81-0124-4DCF-9A4C-DDAE3A9C31E6}" dt="2024-03-15T07:36:20.570" v="79" actId="255"/>
          <ac:spMkLst>
            <pc:docMk/>
            <pc:sldMk cId="1684523110" sldId="277"/>
            <ac:spMk id="3" creationId="{A121DF19-0DBF-4553-FFA4-41C7D222FF89}"/>
          </ac:spMkLst>
        </pc:spChg>
        <pc:spChg chg="mod">
          <ac:chgData name="Honkanen Nina" userId="0e60591b-a1d4-46d2-8afe-38d5c603077f" providerId="ADAL" clId="{C9AB0D81-0124-4DCF-9A4C-DDAE3A9C31E6}" dt="2024-03-15T07:36:30.729" v="82" actId="1076"/>
          <ac:spMkLst>
            <pc:docMk/>
            <pc:sldMk cId="1684523110" sldId="277"/>
            <ac:spMk id="7" creationId="{D6AE11E0-4E61-FFA9-662A-4AAE46D6E667}"/>
          </ac:spMkLst>
        </pc:spChg>
      </pc:sldChg>
      <pc:sldChg chg="modSp mod">
        <pc:chgData name="Honkanen Nina" userId="0e60591b-a1d4-46d2-8afe-38d5c603077f" providerId="ADAL" clId="{C9AB0D81-0124-4DCF-9A4C-DDAE3A9C31E6}" dt="2024-03-15T07:36:47.965" v="86" actId="1076"/>
        <pc:sldMkLst>
          <pc:docMk/>
          <pc:sldMk cId="1882394777" sldId="278"/>
        </pc:sldMkLst>
        <pc:spChg chg="mod">
          <ac:chgData name="Honkanen Nina" userId="0e60591b-a1d4-46d2-8afe-38d5c603077f" providerId="ADAL" clId="{C9AB0D81-0124-4DCF-9A4C-DDAE3A9C31E6}" dt="2024-03-15T07:36:43.960" v="85" actId="1076"/>
          <ac:spMkLst>
            <pc:docMk/>
            <pc:sldMk cId="1882394777" sldId="278"/>
            <ac:spMk id="2" creationId="{C2D1A1B9-54F9-AEB7-A30A-25ACA24170F1}"/>
          </ac:spMkLst>
        </pc:spChg>
        <pc:spChg chg="mod">
          <ac:chgData name="Honkanen Nina" userId="0e60591b-a1d4-46d2-8afe-38d5c603077f" providerId="ADAL" clId="{C9AB0D81-0124-4DCF-9A4C-DDAE3A9C31E6}" dt="2024-03-15T07:36:47.965" v="86" actId="1076"/>
          <ac:spMkLst>
            <pc:docMk/>
            <pc:sldMk cId="1882394777" sldId="278"/>
            <ac:spMk id="3" creationId="{A121DF19-0DBF-4553-FFA4-41C7D222FF89}"/>
          </ac:spMkLst>
        </pc:spChg>
      </pc:sldChg>
      <pc:sldChg chg="modSp mod">
        <pc:chgData name="Honkanen Nina" userId="0e60591b-a1d4-46d2-8afe-38d5c603077f" providerId="ADAL" clId="{C9AB0D81-0124-4DCF-9A4C-DDAE3A9C31E6}" dt="2024-03-15T07:39:17.946" v="130" actId="1076"/>
        <pc:sldMkLst>
          <pc:docMk/>
          <pc:sldMk cId="3151945448" sldId="279"/>
        </pc:sldMkLst>
        <pc:spChg chg="mod">
          <ac:chgData name="Honkanen Nina" userId="0e60591b-a1d4-46d2-8afe-38d5c603077f" providerId="ADAL" clId="{C9AB0D81-0124-4DCF-9A4C-DDAE3A9C31E6}" dt="2024-03-15T07:39:12.919" v="129" actId="1076"/>
          <ac:spMkLst>
            <pc:docMk/>
            <pc:sldMk cId="3151945448" sldId="279"/>
            <ac:spMk id="2" creationId="{C2D1A1B9-54F9-AEB7-A30A-25ACA24170F1}"/>
          </ac:spMkLst>
        </pc:spChg>
        <pc:spChg chg="mod">
          <ac:chgData name="Honkanen Nina" userId="0e60591b-a1d4-46d2-8afe-38d5c603077f" providerId="ADAL" clId="{C9AB0D81-0124-4DCF-9A4C-DDAE3A9C31E6}" dt="2024-03-15T07:39:17.946" v="130" actId="1076"/>
          <ac:spMkLst>
            <pc:docMk/>
            <pc:sldMk cId="3151945448" sldId="279"/>
            <ac:spMk id="3" creationId="{A121DF19-0DBF-4553-FFA4-41C7D222FF89}"/>
          </ac:spMkLst>
        </pc:spChg>
      </pc:sldChg>
      <pc:sldChg chg="modSp mod">
        <pc:chgData name="Honkanen Nina" userId="0e60591b-a1d4-46d2-8afe-38d5c603077f" providerId="ADAL" clId="{C9AB0D81-0124-4DCF-9A4C-DDAE3A9C31E6}" dt="2024-03-15T07:37:19.818" v="100" actId="1036"/>
        <pc:sldMkLst>
          <pc:docMk/>
          <pc:sldMk cId="485876765" sldId="280"/>
        </pc:sldMkLst>
        <pc:spChg chg="mod">
          <ac:chgData name="Honkanen Nina" userId="0e60591b-a1d4-46d2-8afe-38d5c603077f" providerId="ADAL" clId="{C9AB0D81-0124-4DCF-9A4C-DDAE3A9C31E6}" dt="2024-03-15T07:37:12.351" v="90" actId="1076"/>
          <ac:spMkLst>
            <pc:docMk/>
            <pc:sldMk cId="485876765" sldId="280"/>
            <ac:spMk id="2" creationId="{C2D1A1B9-54F9-AEB7-A30A-25ACA24170F1}"/>
          </ac:spMkLst>
        </pc:spChg>
        <pc:spChg chg="mod">
          <ac:chgData name="Honkanen Nina" userId="0e60591b-a1d4-46d2-8afe-38d5c603077f" providerId="ADAL" clId="{C9AB0D81-0124-4DCF-9A4C-DDAE3A9C31E6}" dt="2024-03-15T07:37:19.818" v="100" actId="1036"/>
          <ac:spMkLst>
            <pc:docMk/>
            <pc:sldMk cId="485876765" sldId="280"/>
            <ac:spMk id="3" creationId="{A121DF19-0DBF-4553-FFA4-41C7D222FF89}"/>
          </ac:spMkLst>
        </pc:spChg>
      </pc:sldChg>
      <pc:sldChg chg="modSp mod">
        <pc:chgData name="Honkanen Nina" userId="0e60591b-a1d4-46d2-8afe-38d5c603077f" providerId="ADAL" clId="{C9AB0D81-0124-4DCF-9A4C-DDAE3A9C31E6}" dt="2024-03-15T07:38:53.149" v="122" actId="1076"/>
        <pc:sldMkLst>
          <pc:docMk/>
          <pc:sldMk cId="1889914270" sldId="281"/>
        </pc:sldMkLst>
        <pc:spChg chg="mod">
          <ac:chgData name="Honkanen Nina" userId="0e60591b-a1d4-46d2-8afe-38d5c603077f" providerId="ADAL" clId="{C9AB0D81-0124-4DCF-9A4C-DDAE3A9C31E6}" dt="2024-03-15T07:38:53.149" v="122" actId="1076"/>
          <ac:spMkLst>
            <pc:docMk/>
            <pc:sldMk cId="1889914270" sldId="281"/>
            <ac:spMk id="2" creationId="{0C8330DD-F493-7570-023B-112BCA8C2F07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>
            <a:extLst>
              <a:ext uri="{FF2B5EF4-FFF2-40B4-BE49-F238E27FC236}">
                <a16:creationId xmlns:a16="http://schemas.microsoft.com/office/drawing/2014/main" id="{B04B9EBC-5D97-42BF-B6EB-8E1B9C43771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AE2037F-A1E2-4CCA-8629-3BDB2B3CEB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403F91-E352-4BC0-865E-00C4B778E8F4}" type="datetimeFigureOut">
              <a:rPr lang="fi-FI" smtClean="0"/>
              <a:t>15.3.2024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14A672F-4E2F-4FD9-84E6-5C27D74926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1937CE8-A32E-40B1-B45D-D4F2F4E54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7C6AB-2EC7-448B-8841-68F14F13640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78985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B81401-98B2-4A2C-809B-B877EE2C7168}" type="datetimeFigureOut">
              <a:rPr lang="fi-FI" smtClean="0"/>
              <a:t>15.3.2024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9FF8-BAB1-4496-B899-A3D3A047A0D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9804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17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21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3.jpe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4.jpe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5.jpe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26.jpe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27.jpe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28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30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31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02006" y="1858282"/>
            <a:ext cx="7301552" cy="271371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054554"/>
            <a:ext cx="9051631" cy="554236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06A2DB6-8804-DC7D-25B7-A81DAC7CF3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57"/>
          <a:stretch/>
        </p:blipFill>
        <p:spPr>
          <a:xfrm>
            <a:off x="0" y="4408198"/>
            <a:ext cx="12192000" cy="25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370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 otsik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634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BFAD4-1674-4CF2-B45B-8A6AE3267E70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ekstin paikkamerkki 2">
            <a:extLst>
              <a:ext uri="{FF2B5EF4-FFF2-40B4-BE49-F238E27FC236}">
                <a16:creationId xmlns:a16="http://schemas.microsoft.com/office/drawing/2014/main" id="{DB8E5AD2-AC49-41BF-8E8E-B9E708CF8B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2570" y="1825625"/>
            <a:ext cx="435684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2" name="Tekstin paikkamerkki 4">
            <a:extLst>
              <a:ext uri="{FF2B5EF4-FFF2-40B4-BE49-F238E27FC236}">
                <a16:creationId xmlns:a16="http://schemas.microsoft.com/office/drawing/2014/main" id="{682673EF-6749-45FF-934F-521AB8AF89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123099" y="1825625"/>
            <a:ext cx="435684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3" name="Sisällön paikkamerkki 3">
            <a:extLst>
              <a:ext uri="{FF2B5EF4-FFF2-40B4-BE49-F238E27FC236}">
                <a16:creationId xmlns:a16="http://schemas.microsoft.com/office/drawing/2014/main" id="{144CFA57-DA64-4D38-8D84-371526158F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14" name="Sisällön paikkamerkki 3">
            <a:extLst>
              <a:ext uri="{FF2B5EF4-FFF2-40B4-BE49-F238E27FC236}">
                <a16:creationId xmlns:a16="http://schemas.microsoft.com/office/drawing/2014/main" id="{EA4B8D27-0B6D-4D93-BEA3-C8D021A54D4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85137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60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56E71187-36AE-484F-BB17-5AEC7FEC5FA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4367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97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F0B70832-C857-4352-9AB3-07B0CEC30C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0598766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459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69DB39D1-E9DE-4768-B8E5-E053B3D952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480732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3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 descr="Kuva, joka sisältää kohteen projektori&#10;&#10;Kuvaus luotu automaattisesti">
            <a:extLst>
              <a:ext uri="{FF2B5EF4-FFF2-40B4-BE49-F238E27FC236}">
                <a16:creationId xmlns:a16="http://schemas.microsoft.com/office/drawing/2014/main" id="{1F6A6F5A-2B5A-4C9F-8B1D-C8C1B4F6F11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7879968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627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7D072600-72AA-43DA-A6A5-4467A400B2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6769489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1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971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CB9458-F8AF-497E-9F81-AD036D03DEDB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940445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751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009661-B6A2-4FCB-BD74-92B50AB3778C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E89924-14C9-4296-ABC7-EBBCD552A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15A44A2E-E5B2-4E04-80E5-5944B427B0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476550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290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A64F9AF8-C832-478A-829F-2E210CB7E8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AAAD7-C136-4D1E-AF2E-19C7BA22B24F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992102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2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3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27A65451-5E9A-4362-B56B-472B5EC62E1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27017-FB81-4058-9ED0-07FC92AC8426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6428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3" name="Suorakulmio 2">
            <a:extLst>
              <a:ext uri="{FF2B5EF4-FFF2-40B4-BE49-F238E27FC236}">
                <a16:creationId xmlns:a16="http://schemas.microsoft.com/office/drawing/2014/main" id="{55DA76B5-D7F4-A810-3D21-836E92107A21}"/>
              </a:ext>
            </a:extLst>
          </p:cNvPr>
          <p:cNvSpPr/>
          <p:nvPr userDrawn="1"/>
        </p:nvSpPr>
        <p:spPr>
          <a:xfrm>
            <a:off x="0" y="-2"/>
            <a:ext cx="12192002" cy="6912593"/>
          </a:xfrm>
          <a:prstGeom prst="rect">
            <a:avLst/>
          </a:prstGeom>
          <a:solidFill>
            <a:srgbClr val="117AA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02006" y="1858282"/>
            <a:ext cx="7301552" cy="271371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054554"/>
            <a:ext cx="9051631" cy="554236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06A2DB6-8804-DC7D-25B7-A81DAC7CF3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57"/>
          <a:stretch/>
        </p:blipFill>
        <p:spPr>
          <a:xfrm>
            <a:off x="0" y="4408198"/>
            <a:ext cx="12192000" cy="25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0460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731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>
            <a:extLst>
              <a:ext uri="{FF2B5EF4-FFF2-40B4-BE49-F238E27FC236}">
                <a16:creationId xmlns:a16="http://schemas.microsoft.com/office/drawing/2014/main" id="{BC0B16E9-3EA2-4500-8BB5-B551C527566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AE43D5-4913-4B12-8F1A-D77C9E7C9514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053A0229-BAFC-4889-A089-6AEF35F3A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6350BE49-FFA0-4D9E-B58E-CD5AA20BE0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02352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36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0B3FA059-4826-40F7-A69B-9938401E2E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BA3C4-84FB-423B-A833-1DD13600A864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98422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3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587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7FDD56A1-7DDE-49A6-9567-FDDE69B065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AB70B-7C2E-4009-96C2-C9329400CE93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107468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202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259B10F8-B6DC-4B68-998C-8044E40EBE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AB408-7E6A-4561-A965-EDE232A4655D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2746994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167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C9CF7A8C-CE21-4C7A-A00A-F77810DA90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9925B-DA76-45EB-B569-214FB920AC23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949959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4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787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7376913-E50E-4387-9E96-C5E04E43BF0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3A492-0714-4886-B211-87CBBA09BAA6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997925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4042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129CBB7-CA95-4DB5-BA28-C36DB59D895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DBCB3-DE3E-4E88-A776-8A852B77D7ED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2524232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612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2D9143B0-048A-4677-98A2-9C8E5C0077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726563-8E94-456C-AB1A-BC730F03108B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006913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5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9558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945E664-5DB1-4537-B836-CD53F16D6C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655EB4-BFD9-4BD5-B3DE-197159AF66A2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7792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2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9FCF73B0-126B-453B-9EA7-F5AB6B42322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45808-44CB-4246-A8C2-12D8E3391149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18989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 descr="Kuva, joka sisältää kohteen henkilö, seinä, seisominen, sininen&#10;&#10;Kuvaus luotu automaattisesti">
            <a:extLst>
              <a:ext uri="{FF2B5EF4-FFF2-40B4-BE49-F238E27FC236}">
                <a16:creationId xmlns:a16="http://schemas.microsoft.com/office/drawing/2014/main" id="{80D85BD0-2F8F-4762-B2DB-FA172DDF23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30244" y="3802314"/>
            <a:ext cx="3993137" cy="1613647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6258" y="1328057"/>
            <a:ext cx="4577123" cy="2034348"/>
          </a:xfrm>
        </p:spPr>
        <p:txBody>
          <a:bodyPr vert="horz" anchor="b">
            <a:normAutofit/>
          </a:bodyPr>
          <a:lstStyle>
            <a:lvl1pPr algn="r">
              <a:defRPr sz="4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uora yhdysviiva 5">
            <a:extLst>
              <a:ext uri="{FF2B5EF4-FFF2-40B4-BE49-F238E27FC236}">
                <a16:creationId xmlns:a16="http://schemas.microsoft.com/office/drawing/2014/main" id="{179E9D39-75CF-430E-A0F1-7DEE53DD25E3}"/>
              </a:ext>
            </a:extLst>
          </p:cNvPr>
          <p:cNvCxnSpPr>
            <a:cxnSpLocks/>
          </p:cNvCxnSpPr>
          <p:nvPr userDrawn="1"/>
        </p:nvCxnSpPr>
        <p:spPr>
          <a:xfrm>
            <a:off x="9091101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01633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0163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1B3519DA-7254-4EAF-94F9-707A110872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B7124-2A20-4688-9892-F5411985B26C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688660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sto/sitaatt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298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AC71C887-6855-4E89-A710-FEA8506D6DB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</p:spTree>
    <p:extLst>
      <p:ext uri="{BB962C8B-B14F-4D97-AF65-F5344CB8AC3E}">
        <p14:creationId xmlns:p14="http://schemas.microsoft.com/office/powerpoint/2010/main" val="17283799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7818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C1413E65-1FC2-4106-AEF1-A00456FD8D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E6E2ED78-3D5B-473F-BCF0-111548C534F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6D2A48F-A03B-4638-8B46-A1FCCA31D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044771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76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716E8CF5-015C-4FD3-8BB0-502BF8975EA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4A029B14-B9A6-465C-AEAD-B0E93AB26C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F60A3C-77A3-4EFA-AFCA-36D7D38505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42401742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202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1AE60BC4-2E88-4DC5-BEA2-177F4586E08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973D34D3-FF24-4809-8B1B-CCA9358AD97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C729F224-95F0-4AA3-BC77-5EB1336B0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15857643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324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07BD73EF-DFB1-4164-B80E-F01AD87721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FF7D5B88-F627-46DD-8F5F-B0121EC0654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B051EC7-E656-4E75-891D-E9117789F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1375694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19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A64BDFE0-23FD-4FB9-868E-275C440A97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061" y="2349000"/>
            <a:ext cx="2489314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9590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545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Kuva 2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F259D9A4-6AF6-4C23-A391-60D757A78F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9228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26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2D5528BD-CFA5-4BDD-A809-8999A6D97C1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860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henkilö, ulko, poika, nuori&#10;&#10;Kuvaus luotu automaattisesti">
            <a:extLst>
              <a:ext uri="{FF2B5EF4-FFF2-40B4-BE49-F238E27FC236}">
                <a16:creationId xmlns:a16="http://schemas.microsoft.com/office/drawing/2014/main" id="{D3579580-2FD9-4929-825A-30B349E6A5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406178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711387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11" name="Suora yhdysviiva 10">
            <a:extLst>
              <a:ext uri="{FF2B5EF4-FFF2-40B4-BE49-F238E27FC236}">
                <a16:creationId xmlns:a16="http://schemas.microsoft.com/office/drawing/2014/main" id="{9D21BD7C-487C-4713-A7A3-47CD927F5D03}"/>
              </a:ext>
            </a:extLst>
          </p:cNvPr>
          <p:cNvCxnSpPr>
            <a:cxnSpLocks/>
          </p:cNvCxnSpPr>
          <p:nvPr userDrawn="1"/>
        </p:nvCxnSpPr>
        <p:spPr>
          <a:xfrm>
            <a:off x="672576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836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32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henkilö&#10;&#10;Kuvaus luotu automaattisesti">
            <a:extLst>
              <a:ext uri="{FF2B5EF4-FFF2-40B4-BE49-F238E27FC236}">
                <a16:creationId xmlns:a16="http://schemas.microsoft.com/office/drawing/2014/main" id="{8189FA21-91AF-4438-A231-043FFBDF0AA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682802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988011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245E15B8-9654-43AE-AC81-8C1D900AD564}"/>
              </a:ext>
            </a:extLst>
          </p:cNvPr>
          <p:cNvCxnSpPr>
            <a:cxnSpLocks/>
          </p:cNvCxnSpPr>
          <p:nvPr userDrawn="1"/>
        </p:nvCxnSpPr>
        <p:spPr>
          <a:xfrm>
            <a:off x="672576" y="3853956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65821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04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B7054C96-6274-4344-8F1C-9D8B3F9EBDE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91089"/>
            <a:ext cx="9144000" cy="2387600"/>
          </a:xfrm>
        </p:spPr>
        <p:txBody>
          <a:bodyPr vert="horz" anchor="b">
            <a:normAutofit/>
          </a:bodyPr>
          <a:lstStyle>
            <a:lvl1pPr algn="ctr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395267"/>
            <a:ext cx="9144000" cy="156659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E4DA1EC6-FD96-4315-9EBD-2928B8B679DF}"/>
              </a:ext>
            </a:extLst>
          </p:cNvPr>
          <p:cNvCxnSpPr>
            <a:cxnSpLocks/>
          </p:cNvCxnSpPr>
          <p:nvPr userDrawn="1"/>
        </p:nvCxnSpPr>
        <p:spPr>
          <a:xfrm>
            <a:off x="4898211" y="4194149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0630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83BC1A8A-A3C3-4DC4-A71B-238228D24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759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83BC1A8A-A3C3-4DC4-A71B-238228D24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13994B2C-6ECC-4E39-B141-20CC0B17B37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3F7BCA4F-9062-4B46-9FA2-755EDD857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468" y="1830722"/>
            <a:ext cx="5018363" cy="1642460"/>
          </a:xfrm>
        </p:spPr>
        <p:txBody>
          <a:bodyPr vert="horz" anchor="b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8B774BBC-BD18-4C6B-B972-A50EF26B2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54266" y="701702"/>
            <a:ext cx="4856309" cy="5454597"/>
          </a:xfrm>
        </p:spPr>
        <p:txBody>
          <a:bodyPr anchor="ctr"/>
          <a:lstStyle>
            <a:lvl4pPr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F5B6CC3-33F4-4CC1-81A3-6A2EC0F72F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44533" y="143813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fld id="{C195E768-76B1-434E-9289-2595ECCB79C4}" type="datetime1">
              <a:rPr lang="fi-FI" smtClean="0"/>
              <a:t>15.3.2024</a:t>
            </a:fld>
            <a:endParaRPr lang="fi-FI" dirty="0"/>
          </a:p>
        </p:txBody>
      </p:sp>
      <p:sp>
        <p:nvSpPr>
          <p:cNvPr id="15" name="Dian numeron paikkamerkki 5">
            <a:extLst>
              <a:ext uri="{FF2B5EF4-FFF2-40B4-BE49-F238E27FC236}">
                <a16:creationId xmlns:a16="http://schemas.microsoft.com/office/drawing/2014/main" id="{484D391B-6EFF-4180-9E7A-334F2CB52EDE}"/>
              </a:ext>
            </a:extLst>
          </p:cNvPr>
          <p:cNvSpPr txBox="1">
            <a:spLocks/>
          </p:cNvSpPr>
          <p:nvPr userDrawn="1"/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r" defTabSz="914400" rtl="0" eaLnBrk="1" latinLnBrk="0" hangingPunct="1">
              <a:defRPr sz="11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EF4AC885-2B1D-41F5-80AC-E7E8B38926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61468" y="3622431"/>
            <a:ext cx="5018363" cy="2246556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2694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322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17470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3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A09B5-4BD5-4BED-8EEC-68F2A4ACDD07}" type="datetime1">
              <a:rPr lang="fi-FI" smtClean="0"/>
              <a:t>15.3.2024</a:t>
            </a:fld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Sisällön paikkamerkki 3">
            <a:extLst>
              <a:ext uri="{FF2B5EF4-FFF2-40B4-BE49-F238E27FC236}">
                <a16:creationId xmlns:a16="http://schemas.microsoft.com/office/drawing/2014/main" id="{4FFC9929-2D4B-4FA7-A3FA-B826124BFB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618585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jpe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99A5D101-E9BB-4459-960C-90D85F620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00832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21" imgH="423" progId="TCLayout.ActiveDocument.1">
                  <p:embed/>
                </p:oleObj>
              </mc:Choice>
              <mc:Fallback>
                <p:oleObj name="think-cell Slide" r:id="rId41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99A5D101-E9BB-4459-960C-90D85F620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Kuva 27">
            <a:extLst>
              <a:ext uri="{FF2B5EF4-FFF2-40B4-BE49-F238E27FC236}">
                <a16:creationId xmlns:a16="http://schemas.microsoft.com/office/drawing/2014/main" id="{E9A01564-13CB-4203-95FC-74A153B35C14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C15BEBDC-D372-439D-BE3F-D0014E9F9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4B3C6A2-8A7D-4D37-85A3-E38FFE758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4B6028D-345E-4983-9377-3B51E8C6D9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06113" y="18739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33DB1DC-11BF-4585-868B-306EA823E62F}" type="datetime1">
              <a:rPr lang="fi-FI" smtClean="0"/>
              <a:t>15.3.2024</a:t>
            </a:fld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F7B2924-DE79-4005-AE54-8E1CC0EEDC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94880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674" r:id="rId3"/>
    <p:sldLayoutId id="2147483660" r:id="rId4"/>
    <p:sldLayoutId id="2147483673" r:id="rId5"/>
    <p:sldLayoutId id="2147483649" r:id="rId6"/>
    <p:sldLayoutId id="2147483650" r:id="rId7"/>
    <p:sldLayoutId id="2147483675" r:id="rId8"/>
    <p:sldLayoutId id="2147483652" r:id="rId9"/>
    <p:sldLayoutId id="2147483676" r:id="rId10"/>
    <p:sldLayoutId id="2147483651" r:id="rId11"/>
    <p:sldLayoutId id="2147483679" r:id="rId12"/>
    <p:sldLayoutId id="2147483680" r:id="rId13"/>
    <p:sldLayoutId id="2147483681" r:id="rId14"/>
    <p:sldLayoutId id="2147483682" r:id="rId15"/>
    <p:sldLayoutId id="2147483656" r:id="rId16"/>
    <p:sldLayoutId id="2147483677" r:id="rId17"/>
    <p:sldLayoutId id="2147483678" r:id="rId18"/>
    <p:sldLayoutId id="2147483683" r:id="rId19"/>
    <p:sldLayoutId id="2147483684" r:id="rId20"/>
    <p:sldLayoutId id="2147483685" r:id="rId21"/>
    <p:sldLayoutId id="2147483686" r:id="rId22"/>
    <p:sldLayoutId id="2147483687" r:id="rId23"/>
    <p:sldLayoutId id="2147483688" r:id="rId24"/>
    <p:sldLayoutId id="2147483689" r:id="rId25"/>
    <p:sldLayoutId id="2147483690" r:id="rId26"/>
    <p:sldLayoutId id="2147483691" r:id="rId27"/>
    <p:sldLayoutId id="2147483692" r:id="rId28"/>
    <p:sldLayoutId id="2147483693" r:id="rId29"/>
    <p:sldLayoutId id="2147483694" r:id="rId30"/>
    <p:sldLayoutId id="2147483695" r:id="rId31"/>
    <p:sldLayoutId id="2147483696" r:id="rId32"/>
    <p:sldLayoutId id="2147483697" r:id="rId33"/>
    <p:sldLayoutId id="2147483698" r:id="rId34"/>
    <p:sldLayoutId id="2147483699" r:id="rId35"/>
    <p:sldLayoutId id="2147483702" r:id="rId36"/>
    <p:sldLayoutId id="2147483700" r:id="rId37"/>
    <p:sldLayoutId id="2147483701" r:id="rId3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i-FI" sz="3600" b="1" kern="1200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a0zF96scomo?feature=oembed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 descr="Kuva, joka sisältää kohteen henkilö, vaate, piha-, Ihmisen kasvot&#10;&#10;Kuvaus luotu automaattisesti">
            <a:extLst>
              <a:ext uri="{FF2B5EF4-FFF2-40B4-BE49-F238E27FC236}">
                <a16:creationId xmlns:a16="http://schemas.microsoft.com/office/drawing/2014/main" id="{11A963C1-B426-3B21-E759-42C85A9E84E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12" b="4687"/>
          <a:stretch/>
        </p:blipFill>
        <p:spPr>
          <a:xfrm>
            <a:off x="1" y="-208591"/>
            <a:ext cx="12192000" cy="7066591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6E51947E-8BDE-625E-08C0-11F13335CB7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0" y="4442446"/>
            <a:ext cx="12192000" cy="2494802"/>
          </a:xfrm>
          <a:prstGeom prst="rect">
            <a:avLst/>
          </a:prstGeom>
        </p:spPr>
      </p:pic>
      <p:pic>
        <p:nvPicPr>
          <p:cNvPr id="11" name="Kuva 10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5084B628-7295-E9C8-D408-50EC84A6AE9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923" y="909009"/>
            <a:ext cx="6502257" cy="249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3526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79237" y="2072141"/>
            <a:ext cx="8811426" cy="2713718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fi-FI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uorten materiaali tarjoaa vinkkejä nuorten varainkeräykselliseen toimintaan. Nuoret voivat järjestää elokuvaillan dokumenttielokuvan ”Luomakunnan vartijat” ympärille. Elokuvan teemoista ja Lähetysseuran työstä rakennetaan keskustelumateriaali ilmasto-oikeudenmukaisuuden teemasta. Myös yläkouluja ja lukioluokkia varten luodaan Tasaus-teemaista materiaalia.</a:t>
            </a:r>
            <a:endParaRPr lang="en-FI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lnSpc>
                <a:spcPct val="100000"/>
              </a:lnSpc>
            </a:pPr>
            <a:endParaRPr lang="fi-FI" sz="2400" dirty="0">
              <a:solidFill>
                <a:schemeClr val="tx1"/>
              </a:solidFill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803782"/>
            <a:ext cx="9180963" cy="926402"/>
          </a:xfrm>
        </p:spPr>
        <p:txBody>
          <a:bodyPr>
            <a:normAutofit/>
          </a:bodyPr>
          <a:lstStyle/>
          <a:p>
            <a:r>
              <a:rPr lang="fi-FI" dirty="0"/>
              <a:t>Nuorille</a:t>
            </a:r>
          </a:p>
        </p:txBody>
      </p:sp>
    </p:spTree>
    <p:extLst>
      <p:ext uri="{BB962C8B-B14F-4D97-AF65-F5344CB8AC3E}">
        <p14:creationId xmlns:p14="http://schemas.microsoft.com/office/powerpoint/2010/main" val="18823947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91904" y="1523046"/>
            <a:ext cx="8986103" cy="3811907"/>
          </a:xfrm>
        </p:spPr>
        <p:txBody>
          <a:bodyPr>
            <a:normAutofit lnSpcReduction="10000"/>
          </a:bodyPr>
          <a:lstStyle/>
          <a:p>
            <a:pPr marL="285750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sauksen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ologiaa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hdintakysymysten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ra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teriaalipaketti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tsikolla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Yhteinen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ipämme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257300" lvl="2" indent="-342900" algn="l" fontAlgn="base">
              <a:buFont typeface="Arial" panose="020B0604020202020204" pitchFamily="34" charset="0"/>
              <a:buChar char="•"/>
            </a:pPr>
            <a:r>
              <a:rPr lang="fi-FI" sz="24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sittely (ppt)</a:t>
            </a:r>
            <a:r>
              <a:rPr lang="en-US" sz="24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</a:t>
            </a:r>
            <a:endParaRPr lang="en-US" sz="2400" dirty="0">
              <a:solidFill>
                <a:srgbClr val="0C0C0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57300" lvl="2" indent="-342900" algn="l" fontAlgn="base">
              <a:buFont typeface="Arial" panose="020B0604020202020204" pitchFamily="34" charset="0"/>
              <a:buChar char="•"/>
            </a:pPr>
            <a:r>
              <a:rPr lang="fi-FI" sz="24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Kuvapankki</a:t>
            </a:r>
          </a:p>
          <a:p>
            <a:pPr marL="1257300" lvl="2" indent="-342900" algn="l" fontAlgn="base">
              <a:buFont typeface="Arial" panose="020B0604020202020204" pitchFamily="34" charset="0"/>
              <a:buChar char="•"/>
            </a:pPr>
            <a:r>
              <a:rPr lang="fi-FI" sz="24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ukouskortit</a:t>
            </a:r>
            <a:r>
              <a:rPr lang="en-US" sz="24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</a:t>
            </a:r>
            <a:endParaRPr lang="en-US" sz="2400" dirty="0">
              <a:solidFill>
                <a:srgbClr val="0C0C0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57300" lvl="2" indent="-342900" algn="l" fontAlgn="base">
              <a:buFont typeface="Arial" panose="020B0604020202020204" pitchFamily="34" charset="0"/>
              <a:buChar char="•"/>
            </a:pPr>
            <a:r>
              <a:rPr lang="fi-FI" sz="24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tausvideo</a:t>
            </a:r>
            <a:r>
              <a:rPr lang="en-US" sz="24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</a:t>
            </a:r>
            <a:endParaRPr lang="en-US" sz="2400" dirty="0">
              <a:solidFill>
                <a:srgbClr val="0C0C0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57300" lvl="2" indent="-342900" algn="l" fontAlgn="base">
              <a:buFont typeface="Arial" panose="020B0604020202020204" pitchFamily="34" charset="0"/>
              <a:buChar char="•"/>
            </a:pPr>
            <a:r>
              <a:rPr lang="fi-FI" sz="24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eseptit (ehtoollisleipä</a:t>
            </a:r>
            <a:r>
              <a:rPr lang="en-US" sz="24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, f</a:t>
            </a:r>
            <a:r>
              <a:rPr lang="fi-FI" sz="24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ccacia</a:t>
            </a:r>
            <a:r>
              <a:rPr lang="en-US" sz="24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, i</a:t>
            </a:r>
            <a:r>
              <a:rPr lang="fi-FI" sz="24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jera</a:t>
            </a:r>
            <a:r>
              <a:rPr lang="en-US" sz="24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, n</a:t>
            </a:r>
            <a:r>
              <a:rPr lang="fi-FI" sz="24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an</a:t>
            </a:r>
            <a:r>
              <a:rPr lang="en-US" sz="24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), </a:t>
            </a:r>
            <a:br>
              <a:rPr lang="en-US" sz="24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fi-FI" sz="24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imintaideat (yhdessä leipominen</a:t>
            </a:r>
            <a:r>
              <a:rPr lang="en-US" sz="24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, l</a:t>
            </a:r>
            <a:r>
              <a:rPr lang="fi-FI" sz="24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ipäpussien ompeleminen</a:t>
            </a:r>
            <a:r>
              <a:rPr lang="en-US" sz="24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, p</a:t>
            </a:r>
            <a:r>
              <a:rPr lang="fi-FI" sz="24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luu juurille: juurireseptit ja niiden jakaminen</a:t>
            </a:r>
            <a:r>
              <a:rPr lang="en-US" sz="24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)</a:t>
            </a:r>
          </a:p>
          <a:p>
            <a:endParaRPr lang="fi-FI" sz="2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58900" y="625968"/>
            <a:ext cx="8986103" cy="729590"/>
          </a:xfrm>
        </p:spPr>
        <p:txBody>
          <a:bodyPr/>
          <a:lstStyle/>
          <a:p>
            <a:r>
              <a:rPr lang="fi-FI" dirty="0"/>
              <a:t>Aikuisille</a:t>
            </a:r>
          </a:p>
        </p:txBody>
      </p:sp>
    </p:spTree>
    <p:extLst>
      <p:ext uri="{BB962C8B-B14F-4D97-AF65-F5344CB8AC3E}">
        <p14:creationId xmlns:p14="http://schemas.microsoft.com/office/powerpoint/2010/main" val="31519454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02005" y="1354270"/>
            <a:ext cx="9645615" cy="3900357"/>
          </a:xfrm>
        </p:spPr>
        <p:txBody>
          <a:bodyPr>
            <a:noAutofit/>
          </a:bodyPr>
          <a:lstStyle/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itäkää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sausta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illä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urakunnan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rilaisissa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ilaisuuksissa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b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vittäkää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ietoa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sauksen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teriaaleista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ja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äyttäkää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iitä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lemassa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levien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yhmien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koontumisissa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sten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rhot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uortenillat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soskoulutus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aamattupiirit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ähetyspiirit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ikuisten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koontumiset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umalanpalvelukset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.</a:t>
            </a:r>
          </a:p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0" i="0" dirty="0" err="1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aittakaa</a:t>
            </a:r>
            <a:r>
              <a:rPr lang="en-US" sz="24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i="0" dirty="0" err="1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eurakunnan</a:t>
            </a:r>
            <a:r>
              <a:rPr lang="en-US" sz="24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i="0" dirty="0" err="1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ttisivuille</a:t>
            </a:r>
            <a:r>
              <a:rPr lang="en-US" sz="24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i="0" dirty="0" err="1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asaus-banneri</a:t>
            </a:r>
            <a:r>
              <a:rPr lang="en-US" sz="24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i="0" dirty="0" err="1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yyskuun</a:t>
            </a:r>
            <a:r>
              <a:rPr lang="en-US" sz="24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i="0" dirty="0" err="1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jaksi</a:t>
            </a:r>
            <a:r>
              <a:rPr lang="en-US" sz="24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ärjestäkää</a:t>
            </a:r>
            <a:r>
              <a:rPr lang="en-US" sz="2400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saus-tempaus</a:t>
            </a:r>
            <a:r>
              <a:rPr lang="en-US" sz="2400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ja </a:t>
            </a:r>
            <a:r>
              <a:rPr lang="en-US" sz="2400" dirty="0" err="1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rtokaa</a:t>
            </a:r>
            <a:r>
              <a:rPr lang="en-US" sz="2400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itä</a:t>
            </a:r>
            <a:r>
              <a:rPr lang="en-US" sz="2400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ille</a:t>
            </a:r>
            <a:r>
              <a:rPr lang="en-US" sz="2400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!</a:t>
            </a:r>
            <a:br>
              <a:rPr lang="en-US" sz="2400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info@suomenlahetysseura.fi)</a:t>
            </a:r>
            <a:endParaRPr lang="en-US" sz="2400" b="0" i="0" dirty="0">
              <a:solidFill>
                <a:srgbClr val="0C0C0C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</a:pPr>
            <a:endParaRPr lang="fi-FI" sz="2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447266"/>
            <a:ext cx="9099076" cy="762626"/>
          </a:xfrm>
        </p:spPr>
        <p:txBody>
          <a:bodyPr>
            <a:normAutofit/>
          </a:bodyPr>
          <a:lstStyle/>
          <a:p>
            <a:r>
              <a:rPr lang="fi-FI" dirty="0"/>
              <a:t>Seurakunnassa</a:t>
            </a:r>
          </a:p>
        </p:txBody>
      </p:sp>
    </p:spTree>
    <p:extLst>
      <p:ext uri="{BB962C8B-B14F-4D97-AF65-F5344CB8AC3E}">
        <p14:creationId xmlns:p14="http://schemas.microsoft.com/office/powerpoint/2010/main" val="4858767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0C8330DD-F493-7570-023B-112BCA8C2F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49078" y="680720"/>
            <a:ext cx="8763299" cy="4572000"/>
          </a:xfrm>
        </p:spPr>
        <p:txBody>
          <a:bodyPr>
            <a:normAutofit lnSpcReduction="10000"/>
          </a:bodyPr>
          <a:lstStyle/>
          <a:p>
            <a:r>
              <a:rPr lang="fi-FI" sz="32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ule mukaan tasaamaan hyvinvointia niin,</a:t>
            </a:r>
            <a:br>
              <a:rPr lang="fi-FI" sz="3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fi-FI" sz="32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ttä siitä riittää jokaiselle.</a:t>
            </a:r>
            <a:r>
              <a:rPr lang="fi-FI" sz="3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r>
              <a:rPr lang="fi-FI" sz="2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hjoita nuorelle ammatti.</a:t>
            </a:r>
          </a:p>
          <a:p>
            <a:r>
              <a:rPr lang="fi-FI" sz="2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ta ratkaisemaan konflikteja ja rakentamaan rauhaa.</a:t>
            </a:r>
          </a:p>
          <a:p>
            <a:r>
              <a:rPr lang="fi-FI" sz="2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ahvista ruokaturvaa maailmalla.</a:t>
            </a:r>
          </a:p>
          <a:p>
            <a:endParaRPr lang="fi-FI" sz="22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i-FI" sz="2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omen Lähetysseura tekee pitkäjänteistä työtä oikeudenmukaisen</a:t>
            </a:r>
            <a:br>
              <a:rPr lang="fi-FI" sz="2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fi-FI" sz="2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a inhimillisen maailman puolesta.</a:t>
            </a:r>
          </a:p>
          <a:p>
            <a:r>
              <a:rPr lang="fi-FI" sz="3200" b="1" i="0" u="none" strike="noStrike" baseline="0" dirty="0">
                <a:solidFill>
                  <a:srgbClr val="F5324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hjoita ja auta</a:t>
            </a:r>
            <a:endParaRPr lang="fi-FI" sz="3200" b="0" i="0" u="none" strike="noStrike" baseline="0" dirty="0">
              <a:solidFill>
                <a:srgbClr val="F53246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i-FI" sz="2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ilisiirrolla </a:t>
            </a:r>
            <a:r>
              <a:rPr lang="fi-FI" sz="22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BAN FI38 8000 1400 1611 30 </a:t>
            </a:r>
            <a:r>
              <a:rPr lang="fi-FI" sz="2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esti </a:t>
            </a:r>
            <a:r>
              <a:rPr lang="fi-FI" sz="22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SAUS23</a:t>
            </a:r>
            <a:endParaRPr lang="fi-FI" sz="22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i-FI" sz="22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bilepaylla</a:t>
            </a:r>
            <a:r>
              <a:rPr lang="fi-FI" sz="22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numeroon </a:t>
            </a:r>
            <a:r>
              <a:rPr lang="fi-FI" sz="22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82808</a:t>
            </a:r>
            <a:endParaRPr lang="fi-FI" sz="2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99142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AC79C7B-1D33-02DB-C466-12A28D662E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6350" y="648075"/>
            <a:ext cx="3395754" cy="452583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2B68194-844E-C1D4-F82D-7623A26771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9896" y="648075"/>
            <a:ext cx="4864734" cy="3647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3762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6C66CB21-53C0-D442-CD72-200E1F6099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02006" y="2226771"/>
            <a:ext cx="7301552" cy="2713718"/>
          </a:xfrm>
          <a:effectLst/>
        </p:spPr>
        <p:txBody>
          <a:bodyPr>
            <a:noAutofit/>
          </a:bodyPr>
          <a:lstStyle/>
          <a:p>
            <a:r>
              <a:rPr lang="fi-FI" sz="4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otta maailma olisi oikeudenmukaisempi, valoisampi ja lempeämpi</a:t>
            </a:r>
            <a:endParaRPr lang="fi-FI" sz="4400" dirty="0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F5D1C075-D6F7-25DC-430B-21DC896AFA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15150" y="859811"/>
            <a:ext cx="8591589" cy="1310185"/>
          </a:xfrm>
          <a:effectLst/>
        </p:spPr>
        <p:txBody>
          <a:bodyPr>
            <a:noAutofit/>
          </a:bodyPr>
          <a:lstStyle/>
          <a:p>
            <a:r>
              <a:rPr lang="fi-FI" sz="6600" dirty="0">
                <a:latin typeface="Calibri" panose="020F0502020204030204" pitchFamily="34" charset="0"/>
                <a:cs typeface="Calibri" panose="020F0502020204030204" pitchFamily="34" charset="0"/>
              </a:rPr>
              <a:t>TASAUS,</a:t>
            </a:r>
          </a:p>
        </p:txBody>
      </p:sp>
    </p:spTree>
    <p:extLst>
      <p:ext uri="{BB962C8B-B14F-4D97-AF65-F5344CB8AC3E}">
        <p14:creationId xmlns:p14="http://schemas.microsoft.com/office/powerpoint/2010/main" val="19674432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03813" y="1782446"/>
            <a:ext cx="9471728" cy="3821030"/>
          </a:xfrm>
        </p:spPr>
        <p:txBody>
          <a:bodyPr>
            <a:noAutofit/>
          </a:bodyPr>
          <a:lstStyle/>
          <a:p>
            <a:r>
              <a:rPr lang="fi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ksi kertaa vuodessa, kevät- ja syyspäiväntasauksen aikaan, valo jakautuu tasaisesti maapallolla, mutta globaali hyvinvointi ei silloinkaan.</a:t>
            </a:r>
          </a:p>
          <a:p>
            <a:r>
              <a:rPr lang="fi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asauspäiviin sijoittuva Tasaus-keräys kutsuu katsomaan maailmaa uudessa valossa ja toimimaan oikeudenmukaisemman maailman puolesta. </a:t>
            </a:r>
          </a:p>
          <a:p>
            <a:r>
              <a:rPr lang="fi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sauksen tuella varustetaan yhteisöjä ympäri maailmaa rakentamaan parempaa tulevaisuutta. Tule mukaan tasaamaan hyvinvointia niin, että siitä riittää jokaiselle! </a:t>
            </a:r>
            <a:endParaRPr lang="en-FI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i-FI" sz="2400" dirty="0">
              <a:solidFill>
                <a:schemeClr val="tx1"/>
              </a:solidFill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440D0F30-A748-C9EE-C2AF-FD799A6EFC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689722"/>
            <a:ext cx="9644987" cy="868134"/>
          </a:xfrm>
        </p:spPr>
        <p:txBody>
          <a:bodyPr>
            <a:normAutofit/>
          </a:bodyPr>
          <a:lstStyle/>
          <a:p>
            <a:r>
              <a:rPr lang="fi-FI" dirty="0"/>
              <a:t>TASAUS</a:t>
            </a:r>
          </a:p>
        </p:txBody>
      </p:sp>
    </p:spTree>
    <p:extLst>
      <p:ext uri="{BB962C8B-B14F-4D97-AF65-F5344CB8AC3E}">
        <p14:creationId xmlns:p14="http://schemas.microsoft.com/office/powerpoint/2010/main" val="42602000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56096" y="1938304"/>
            <a:ext cx="8605234" cy="2185237"/>
          </a:xfrm>
        </p:spPr>
        <p:txBody>
          <a:bodyPr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umalan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tamat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hjat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ulee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kaa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stuullisesti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li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hteiskunnallisten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antieteellisten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ja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kupolvien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jojen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iin,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tä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ikilla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n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yvän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ämän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dellytykset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esuksen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ettama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ultainen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ääntö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”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ikki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nkä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hdotte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hmisten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kevän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ille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hkää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e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ille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” (Matt.7:12)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hottaa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itä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ettumaan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isen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hmisen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emaan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ja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utsuu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lidaarisuuteen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ikoimmassa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emassa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äviä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htaan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kä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ämään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FI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stuullisesti</a:t>
            </a:r>
            <a:r>
              <a:rPr lang="en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fi-FI" sz="2400" dirty="0">
              <a:solidFill>
                <a:schemeClr val="tx1"/>
              </a:solidFill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834101"/>
            <a:ext cx="9644987" cy="868134"/>
          </a:xfrm>
        </p:spPr>
        <p:txBody>
          <a:bodyPr>
            <a:normAutofit/>
          </a:bodyPr>
          <a:lstStyle/>
          <a:p>
            <a:r>
              <a:rPr lang="fi-FI" dirty="0"/>
              <a:t>Jokainen ihminen on Jumalan kuva</a:t>
            </a:r>
          </a:p>
        </p:txBody>
      </p:sp>
    </p:spTree>
    <p:extLst>
      <p:ext uri="{BB962C8B-B14F-4D97-AF65-F5344CB8AC3E}">
        <p14:creationId xmlns:p14="http://schemas.microsoft.com/office/powerpoint/2010/main" val="14035906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0525" y="2086110"/>
            <a:ext cx="9370948" cy="3555282"/>
          </a:xfrm>
        </p:spPr>
        <p:txBody>
          <a:bodyPr>
            <a:noAutofit/>
          </a:bodyPr>
          <a:lstStyle/>
          <a:p>
            <a:r>
              <a:rPr lang="fi-FI" sz="2400" b="0" i="0" dirty="0">
                <a:solidFill>
                  <a:srgbClr val="41414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hitysyhteistyöllä rakennetaan oikeudenmukaisempaa maailmaa.</a:t>
            </a:r>
          </a:p>
          <a:p>
            <a:r>
              <a:rPr lang="fi-FI" sz="2400" b="0" i="0" dirty="0">
                <a:solidFill>
                  <a:srgbClr val="41414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yöskentelemme, jotta ihmisoikeudet toteutuisivat myös kaikkein haavoittuvimmassa asemassa olevien ihmisten parissa.</a:t>
            </a:r>
          </a:p>
          <a:p>
            <a:r>
              <a:rPr lang="fi-FI" sz="2400" b="0" i="0" dirty="0">
                <a:solidFill>
                  <a:srgbClr val="41414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uellamme kehittyvien maiden ihmiset voivat itse parantaa omia elinolosuhteitaan ja asemaansa. Ihmiset saavat muun muassa koulutusta omista oikeuksistaan, ilmastokestävistä viljelytekniikoista tai pienyrittäjyydestä tai opetusta omalla äidinkielellään.</a:t>
            </a:r>
          </a:p>
          <a:p>
            <a:endParaRPr lang="fi-FI" sz="24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17141" y="628133"/>
            <a:ext cx="7557717" cy="1305285"/>
          </a:xfrm>
        </p:spPr>
        <p:txBody>
          <a:bodyPr>
            <a:normAutofit fontScale="90000"/>
          </a:bodyPr>
          <a:lstStyle/>
          <a:p>
            <a:r>
              <a:rPr lang="fi-FI" dirty="0"/>
              <a:t>Yhdessä oikeudenmukaisemman maailman puolesta</a:t>
            </a:r>
          </a:p>
        </p:txBody>
      </p:sp>
    </p:spTree>
    <p:extLst>
      <p:ext uri="{BB962C8B-B14F-4D97-AF65-F5344CB8AC3E}">
        <p14:creationId xmlns:p14="http://schemas.microsoft.com/office/powerpoint/2010/main" val="39839327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05540" y="1569835"/>
            <a:ext cx="9660817" cy="3718330"/>
          </a:xfrm>
        </p:spPr>
        <p:txBody>
          <a:bodyPr>
            <a:normAutofit/>
          </a:bodyPr>
          <a:lstStyle/>
          <a:p>
            <a:pPr marL="285750" indent="-285750" algn="l">
              <a:lnSpc>
                <a:spcPts val="28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saus-keräyksellä kerätään varoja Lähetysseuran kehitysyhteistyöhankkeisiin.</a:t>
            </a:r>
          </a:p>
          <a:p>
            <a:pPr marL="285750" indent="-285750" algn="l">
              <a:lnSpc>
                <a:spcPts val="28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yöskentelemme kaikkein köyhimpien ja syrjityimpien ihmisten kanssa. Erityisen haavoittuvassa asemassa olevia ihmisryhmiä ovat esimerkiksi vammaiset ihmiset,  etniset, kieli- ja muut vähemmistöt, kastijärjestelmän perusteella syrjityt ihmisryhmät, alkuperäiskansat sekä naiset ja lapset. Vaikutamme myös kehittyvien maiden päättäjiin, jotta he kantaisivat vastuunsa ihmisoikeuksista.</a:t>
            </a:r>
          </a:p>
          <a:p>
            <a:pPr>
              <a:lnSpc>
                <a:spcPts val="2800"/>
              </a:lnSpc>
            </a:pPr>
            <a:endParaRPr lang="fi-FI" sz="2400" dirty="0">
              <a:solidFill>
                <a:schemeClr val="tx1"/>
              </a:solidFill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70184" y="384478"/>
            <a:ext cx="9051631" cy="1057031"/>
          </a:xfrm>
        </p:spPr>
        <p:txBody>
          <a:bodyPr>
            <a:normAutofit/>
          </a:bodyPr>
          <a:lstStyle/>
          <a:p>
            <a:r>
              <a:rPr lang="fi-FI" dirty="0"/>
              <a:t>Tasaus auttaa eri puolilla maailmaa</a:t>
            </a:r>
          </a:p>
        </p:txBody>
      </p:sp>
    </p:spTree>
    <p:extLst>
      <p:ext uri="{BB962C8B-B14F-4D97-AF65-F5344CB8AC3E}">
        <p14:creationId xmlns:p14="http://schemas.microsoft.com/office/powerpoint/2010/main" val="3052189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nline Media 8" title="Mistä työ alkaa? Kehitysyhteistyön lähtötilanne Länsi-Nepalin Jajarkotissa">
            <a:hlinkClick r:id="" action="ppaction://media"/>
            <a:extLst>
              <a:ext uri="{FF2B5EF4-FFF2-40B4-BE49-F238E27FC236}">
                <a16:creationId xmlns:a16="http://schemas.microsoft.com/office/drawing/2014/main" id="{D6DA3BBD-3C2A-6BB6-0E7F-C27E5E598D16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3930275" y="2171306"/>
            <a:ext cx="4803639" cy="2714056"/>
          </a:xfrm>
          <a:prstGeom prst="rect">
            <a:avLst/>
          </a:prstGeom>
        </p:spPr>
      </p:pic>
      <p:sp>
        <p:nvSpPr>
          <p:cNvPr id="7" name="Otsikko 6">
            <a:extLst>
              <a:ext uri="{FF2B5EF4-FFF2-40B4-BE49-F238E27FC236}">
                <a16:creationId xmlns:a16="http://schemas.microsoft.com/office/drawing/2014/main" id="{BC3D11AA-32A2-4043-350A-7F06D3B81C0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44892" y="112296"/>
            <a:ext cx="7702216" cy="1802338"/>
          </a:xfrm>
        </p:spPr>
        <p:txBody>
          <a:bodyPr>
            <a:normAutofit/>
          </a:bodyPr>
          <a:lstStyle/>
          <a:p>
            <a:r>
              <a:rPr lang="fi-FI" sz="3000" b="1" i="0" dirty="0">
                <a:solidFill>
                  <a:srgbClr val="117AA6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kä on lähtötilanne, kun aloitamme kehitysyhteistyön jollain alueella? </a:t>
            </a:r>
            <a:br>
              <a:rPr lang="fi-FI" sz="3000" b="1" i="0" dirty="0">
                <a:solidFill>
                  <a:srgbClr val="117AA6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fi-FI" sz="3000" b="1" i="0" dirty="0">
                <a:solidFill>
                  <a:srgbClr val="117AA6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tso video Länsi-Nepalista.</a:t>
            </a:r>
            <a:endParaRPr lang="fi-FI" sz="3000" dirty="0"/>
          </a:p>
        </p:txBody>
      </p:sp>
    </p:spTree>
    <p:extLst>
      <p:ext uri="{BB962C8B-B14F-4D97-AF65-F5344CB8AC3E}">
        <p14:creationId xmlns:p14="http://schemas.microsoft.com/office/powerpoint/2010/main" val="2982774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89110" y="2208619"/>
            <a:ext cx="7301552" cy="2713718"/>
          </a:xfrm>
        </p:spPr>
        <p:txBody>
          <a:bodyPr>
            <a:normAutofit/>
          </a:bodyPr>
          <a:lstStyle/>
          <a:p>
            <a:pPr marL="285750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ulostettavat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ulisteet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ja </a:t>
            </a: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itteet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ntalappupohjia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yyjäisiin</a:t>
            </a:r>
            <a:endParaRPr lang="en-US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saus-bannerit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ja -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uvat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messa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äytettäväksi</a:t>
            </a:r>
            <a:endParaRPr lang="en-FI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1004" y="887105"/>
            <a:ext cx="9151146" cy="1090175"/>
          </a:xfrm>
        </p:spPr>
        <p:txBody>
          <a:bodyPr>
            <a:normAutofit/>
          </a:bodyPr>
          <a:lstStyle/>
          <a:p>
            <a:r>
              <a:rPr lang="fi-FI" dirty="0"/>
              <a:t>Kampanjamateriaalia</a:t>
            </a:r>
          </a:p>
        </p:txBody>
      </p:sp>
    </p:spTree>
    <p:extLst>
      <p:ext uri="{BB962C8B-B14F-4D97-AF65-F5344CB8AC3E}">
        <p14:creationId xmlns:p14="http://schemas.microsoft.com/office/powerpoint/2010/main" val="27786763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94643" y="2598170"/>
            <a:ext cx="8402712" cy="166165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800"/>
              </a:spcAft>
            </a:pPr>
            <a:r>
              <a:rPr lang="fi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ineistot löytyvät nettisivuilta</a:t>
            </a:r>
            <a:br>
              <a:rPr lang="fi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fi-FI" sz="2800" b="1" dirty="0">
                <a:solidFill>
                  <a:schemeClr val="accent3">
                    <a:lumMod val="7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ttps://felm.suomenlahetysseura.fi/tasaus/</a:t>
            </a:r>
            <a:endParaRPr lang="en-FI" sz="2800" b="1" dirty="0">
              <a:solidFill>
                <a:schemeClr val="accent3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endParaRPr lang="fi-FI" sz="2400" dirty="0">
              <a:solidFill>
                <a:schemeClr val="tx1"/>
              </a:solidFill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2341" y="1456480"/>
            <a:ext cx="9167315" cy="858163"/>
          </a:xfrm>
        </p:spPr>
        <p:txBody>
          <a:bodyPr>
            <a:normAutofit/>
          </a:bodyPr>
          <a:lstStyle/>
          <a:p>
            <a:r>
              <a:rPr lang="fi-FI" dirty="0"/>
              <a:t>Aineistoa seurakunnille</a:t>
            </a:r>
          </a:p>
        </p:txBody>
      </p:sp>
    </p:spTree>
    <p:extLst>
      <p:ext uri="{BB962C8B-B14F-4D97-AF65-F5344CB8AC3E}">
        <p14:creationId xmlns:p14="http://schemas.microsoft.com/office/powerpoint/2010/main" val="10068552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57039" y="1298085"/>
            <a:ext cx="7259677" cy="1364777"/>
          </a:xfrm>
        </p:spPr>
        <p:txBody>
          <a:bodyPr>
            <a:noAutofit/>
          </a:bodyPr>
          <a:lstStyle/>
          <a:p>
            <a:r>
              <a:rPr lang="fi-FI" sz="22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ubettaja Myrsky ja lohikäärme Savu </a:t>
            </a:r>
            <a:r>
              <a:rPr lang="fi-FI" sz="2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– </a:t>
            </a:r>
            <a:r>
              <a:rPr lang="fi-FI" sz="22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eissussa rähjääntyy,</a:t>
            </a:r>
            <a:br>
              <a:rPr lang="fi-FI" sz="22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fi-FI" sz="22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utta lapsen oikeudet tulevat tutuiksi.</a:t>
            </a:r>
            <a:endParaRPr lang="en-FI" sz="22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fi-FI" sz="2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Pakohuonepeli 12–14-vuotiaille, käytettäväksi Yö kirkossa </a:t>
            </a:r>
            <a:br>
              <a:rPr lang="fi-FI" sz="2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fi-FI" sz="2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tapahtumissa, kouluvierailulla tai missä vain</a:t>
            </a:r>
            <a:endParaRPr lang="en-FI" sz="2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fi-FI" sz="2200" dirty="0">
              <a:solidFill>
                <a:schemeClr val="tx1"/>
              </a:solidFill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469769"/>
            <a:ext cx="9590396" cy="696036"/>
          </a:xfrm>
        </p:spPr>
        <p:txBody>
          <a:bodyPr>
            <a:normAutofit/>
          </a:bodyPr>
          <a:lstStyle/>
          <a:p>
            <a:r>
              <a:rPr lang="fi-FI" dirty="0"/>
              <a:t>12–14-vuotiaille</a:t>
            </a:r>
          </a:p>
        </p:txBody>
      </p:sp>
      <p:sp>
        <p:nvSpPr>
          <p:cNvPr id="7" name="Tekstiruutu 6">
            <a:extLst>
              <a:ext uri="{FF2B5EF4-FFF2-40B4-BE49-F238E27FC236}">
                <a16:creationId xmlns:a16="http://schemas.microsoft.com/office/drawing/2014/main" id="{D6AE11E0-4E61-FFA9-662A-4AAE46D6E667}"/>
              </a:ext>
            </a:extLst>
          </p:cNvPr>
          <p:cNvSpPr txBox="1"/>
          <p:nvPr/>
        </p:nvSpPr>
        <p:spPr>
          <a:xfrm>
            <a:off x="4293357" y="2892390"/>
            <a:ext cx="7722180" cy="26675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 algn="l">
              <a:lnSpc>
                <a:spcPts val="2000"/>
              </a:lnSpc>
              <a:buFont typeface="+mj-lt"/>
              <a:buAutoNum type="arabicPeriod"/>
            </a:pPr>
            <a:r>
              <a:rPr lang="fi-FI" sz="2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loitus: lähtö Suomesta</a:t>
            </a:r>
          </a:p>
          <a:p>
            <a:pPr marL="342900" indent="-342900">
              <a:lnSpc>
                <a:spcPts val="2000"/>
              </a:lnSpc>
              <a:buFont typeface="+mj-lt"/>
              <a:buAutoNum type="arabicPeriod"/>
            </a:pPr>
            <a:r>
              <a:rPr lang="fi-FI" sz="22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Kambod</a:t>
            </a:r>
            <a:r>
              <a:rPr lang="fi-FI" sz="2200" dirty="0" err="1">
                <a:solidFill>
                  <a:srgbClr val="050505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ž</a:t>
            </a:r>
            <a:r>
              <a:rPr lang="fi-FI" sz="22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</a:t>
            </a:r>
            <a:r>
              <a:rPr lang="fi-FI" sz="2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: kulkeminen Mekong-joella, ruokaturva</a:t>
            </a:r>
            <a:endParaRPr lang="en-FI" sz="2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 algn="l">
              <a:lnSpc>
                <a:spcPts val="2000"/>
              </a:lnSpc>
              <a:buFont typeface="+mj-lt"/>
              <a:buAutoNum type="arabicPeriod"/>
            </a:pPr>
            <a:r>
              <a:rPr lang="fi-FI" sz="2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Kolumbia: ratsastus vuoristossa, koulunkäynti / kummit</a:t>
            </a:r>
            <a:endParaRPr lang="en-FI" sz="2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 algn="l">
              <a:lnSpc>
                <a:spcPts val="2000"/>
              </a:lnSpc>
              <a:buFont typeface="+mj-lt"/>
              <a:buAutoNum type="arabicPeriod"/>
            </a:pPr>
            <a:r>
              <a:rPr lang="fi-FI" sz="2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alestiinalaisalue: rauhankasvatus palestiinalaiskylän koulussa</a:t>
            </a:r>
            <a:endParaRPr lang="en-FI" sz="2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 algn="l">
              <a:lnSpc>
                <a:spcPts val="2000"/>
              </a:lnSpc>
              <a:buFont typeface="+mj-lt"/>
              <a:buAutoNum type="arabicPeriod"/>
            </a:pPr>
            <a:r>
              <a:rPr lang="fi-FI" sz="2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Lähtö kotiinpäin, passi hukassa – kansalaisuus</a:t>
            </a:r>
            <a:endParaRPr lang="en-FI" sz="2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algn="l">
              <a:lnSpc>
                <a:spcPts val="2000"/>
              </a:lnSpc>
            </a:pPr>
            <a:r>
              <a:rPr lang="fi-FI" sz="2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r>
              <a:rPr lang="fi-FI" sz="2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Lisärasti: kotona; lapsen oikeuksista kertominen</a:t>
            </a:r>
            <a:endParaRPr lang="en-FI" sz="2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algn="l">
              <a:lnSpc>
                <a:spcPts val="2000"/>
              </a:lnSpc>
            </a:pPr>
            <a:r>
              <a:rPr lang="fi-FI" sz="2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FI" sz="2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l">
              <a:lnSpc>
                <a:spcPts val="2000"/>
              </a:lnSpc>
            </a:pPr>
            <a:r>
              <a:rPr lang="fi-FI" sz="2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akohuonepelin lisäksi tulee joitain lisätehtäviä, joissakin niistä varainhankinnallinen idea. Lisätehtävät voivat olla myös sellaisia, jotka on suunnattu seurakuntatoimintaan, ei kouluun.</a:t>
            </a:r>
            <a:endParaRPr lang="en-FI" sz="2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45231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Suomen Lähetysseura">
      <a:dk1>
        <a:srgbClr val="0C0C0C"/>
      </a:dk1>
      <a:lt1>
        <a:srgbClr val="FFFFFF"/>
      </a:lt1>
      <a:dk2>
        <a:srgbClr val="F53246"/>
      </a:dk2>
      <a:lt2>
        <a:srgbClr val="E7E6E6"/>
      </a:lt2>
      <a:accent1>
        <a:srgbClr val="F53246"/>
      </a:accent1>
      <a:accent2>
        <a:srgbClr val="90397B"/>
      </a:accent2>
      <a:accent3>
        <a:srgbClr val="1179A6"/>
      </a:accent3>
      <a:accent4>
        <a:srgbClr val="93CB81"/>
      </a:accent4>
      <a:accent5>
        <a:srgbClr val="F3DF0E"/>
      </a:accent5>
      <a:accent6>
        <a:srgbClr val="FBAFB6"/>
      </a:accent6>
      <a:hlink>
        <a:srgbClr val="0C5272"/>
      </a:hlink>
      <a:folHlink>
        <a:srgbClr val="FBAFB6"/>
      </a:folHlink>
    </a:clrScheme>
    <a:fontScheme name="Mukautettu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ähetysseura_16-9_FIN_malli" id="{96B25E20-5BB7-4816-A895-B7AD00EE9CEC}" vid="{882246F9-928B-42F2-A3E3-31DC8D9B27D3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ba8b525-faa7-450e-87ad-219cde38671f" xsi:nil="true"/>
    <lcf76f155ced4ddcb4097134ff3c332f xmlns="36c43c7b-f203-4255-9c01-fbfa8f435691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E5DC34CE36E89F4B92BFA9B82D23A070" ma:contentTypeVersion="18" ma:contentTypeDescription="Luo uusi asiakirja." ma:contentTypeScope="" ma:versionID="ecd85f0ef30a2f88c6d278996123fdb2">
  <xsd:schema xmlns:xsd="http://www.w3.org/2001/XMLSchema" xmlns:xs="http://www.w3.org/2001/XMLSchema" xmlns:p="http://schemas.microsoft.com/office/2006/metadata/properties" xmlns:ns2="36c43c7b-f203-4255-9c01-fbfa8f435691" xmlns:ns3="cba8b525-faa7-450e-87ad-219cde38671f" targetNamespace="http://schemas.microsoft.com/office/2006/metadata/properties" ma:root="true" ma:fieldsID="d23b2f1ce10ffc2636d101d95f367afe" ns2:_="" ns3:_="">
    <xsd:import namespace="36c43c7b-f203-4255-9c01-fbfa8f435691"/>
    <xsd:import namespace="cba8b525-faa7-450e-87ad-219cde38671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c43c7b-f203-4255-9c01-fbfa8f4356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Kuvien tunnisteet" ma:readOnly="false" ma:fieldId="{5cf76f15-5ced-4ddc-b409-7134ff3c332f}" ma:taxonomyMulti="true" ma:sspId="bc5903eb-f726-48b2-a5e1-0557bb19de1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a8b525-faa7-450e-87ad-219cde38671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e7f9ea9-f2b8-4c26-b77f-ec1180490373}" ma:internalName="TaxCatchAll" ma:showField="CatchAllData" ma:web="cba8b525-faa7-450e-87ad-219cde3867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216EC1D-D251-4A8E-965B-A9AD0BDE889C}">
  <ds:schemaRefs>
    <ds:schemaRef ds:uri="http://schemas.microsoft.com/office/2006/metadata/properties"/>
    <ds:schemaRef ds:uri="http://schemas.microsoft.com/office/infopath/2007/PartnerControls"/>
    <ds:schemaRef ds:uri="cba8b525-faa7-450e-87ad-219cde38671f"/>
    <ds:schemaRef ds:uri="36c43c7b-f203-4255-9c01-fbfa8f435691"/>
  </ds:schemaRefs>
</ds:datastoreItem>
</file>

<file path=customXml/itemProps2.xml><?xml version="1.0" encoding="utf-8"?>
<ds:datastoreItem xmlns:ds="http://schemas.openxmlformats.org/officeDocument/2006/customXml" ds:itemID="{AB401009-7A98-4A08-BCA7-F9ED442823C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F1D06CF-B63E-41C4-977A-A7F863D0442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c43c7b-f203-4255-9c01-fbfa8f435691"/>
    <ds:schemaRef ds:uri="cba8b525-faa7-450e-87ad-219cde38671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3</TotalTime>
  <Words>594</Words>
  <Application>Microsoft Office PowerPoint</Application>
  <PresentationFormat>Laajakuva</PresentationFormat>
  <Paragraphs>56</Paragraphs>
  <Slides>15</Slides>
  <Notes>0</Notes>
  <HiddenSlides>0</HiddenSlides>
  <MMClips>1</MMClips>
  <ScaleCrop>false</ScaleCrop>
  <HeadingPairs>
    <vt:vector size="8" baseType="variant">
      <vt:variant>
        <vt:lpstr>Käytetyt fontit</vt:lpstr>
      </vt:variant>
      <vt:variant>
        <vt:i4>2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5</vt:i4>
      </vt:variant>
    </vt:vector>
  </HeadingPairs>
  <TitlesOfParts>
    <vt:vector size="19" baseType="lpstr">
      <vt:lpstr>Arial</vt:lpstr>
      <vt:lpstr>Calibri</vt:lpstr>
      <vt:lpstr>Office-teema</vt:lpstr>
      <vt:lpstr>think-cell Slide</vt:lpstr>
      <vt:lpstr>PowerPoint-esitys</vt:lpstr>
      <vt:lpstr>TASAUS</vt:lpstr>
      <vt:lpstr>Jokainen ihminen on Jumalan kuva</vt:lpstr>
      <vt:lpstr>Yhdessä oikeudenmukaisemman maailman puolesta</vt:lpstr>
      <vt:lpstr>Tasaus auttaa eri puolilla maailmaa</vt:lpstr>
      <vt:lpstr>Mikä on lähtötilanne, kun aloitamme kehitysyhteistyön jollain alueella?  Katso video Länsi-Nepalista.</vt:lpstr>
      <vt:lpstr>Kampanjamateriaalia</vt:lpstr>
      <vt:lpstr>Aineistoa seurakunnille</vt:lpstr>
      <vt:lpstr>12–14-vuotiaille</vt:lpstr>
      <vt:lpstr>Nuorille</vt:lpstr>
      <vt:lpstr>Aikuisille</vt:lpstr>
      <vt:lpstr>Seurakunnassa</vt:lpstr>
      <vt:lpstr>PowerPoint-esitys</vt:lpstr>
      <vt:lpstr>PowerPoint-esitys</vt:lpstr>
      <vt:lpstr>TASAUS,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Peltonen Anna</dc:creator>
  <cp:lastModifiedBy>Honkanen Nina</cp:lastModifiedBy>
  <cp:revision>63</cp:revision>
  <dcterms:created xsi:type="dcterms:W3CDTF">2021-03-29T12:00:14Z</dcterms:created>
  <dcterms:modified xsi:type="dcterms:W3CDTF">2024-03-15T09:2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5DC34CE36E89F4B92BFA9B82D23A070</vt:lpwstr>
  </property>
</Properties>
</file>